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2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10" r:id="rId39"/>
    <p:sldId id="411" r:id="rId40"/>
    <p:sldId id="412" r:id="rId41"/>
    <p:sldId id="413" r:id="rId42"/>
    <p:sldId id="838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51" autoAdjust="0"/>
    <p:restoredTop sz="94162" autoAdjust="0"/>
  </p:normalViewPr>
  <p:slideViewPr>
    <p:cSldViewPr snapToGrid="0">
      <p:cViewPr varScale="1">
        <p:scale>
          <a:sx n="152" d="100"/>
          <a:sy n="152" d="100"/>
        </p:scale>
        <p:origin x="134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1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3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692855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Reviewing beta coefficients can explain relationships, some positive, some negative &gt;&gt;&gt;</a:t>
            </a:r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88</TotalTime>
  <Words>3255</Words>
  <Application>Microsoft Macintosh PowerPoint</Application>
  <PresentationFormat>On-screen Show (4:3)</PresentationFormat>
  <Paragraphs>771</Paragraphs>
  <Slides>70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80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76</cp:revision>
  <dcterms:created xsi:type="dcterms:W3CDTF">2018-05-23T17:24:59Z</dcterms:created>
  <dcterms:modified xsi:type="dcterms:W3CDTF">2023-10-16T15:56:06Z</dcterms:modified>
</cp:coreProperties>
</file>